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61" d="100"/>
          <a:sy n="61" d="100"/>
        </p:scale>
        <p:origin x="104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1/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4"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sz="1800" noProof="0" dirty="0"/>
              <a:t>Usability of the Solution </a:t>
            </a:r>
          </a:p>
          <a:p>
            <a:pPr lvl="2"/>
            <a:r>
              <a:rPr lang="en-US" sz="1800" dirty="0"/>
              <a:t>How do we ensure the solution is user-friendly and well adopted, including: • Ease of use – customer testing during design • Meets customer needs – considering different user scenarios across computer, tablet, mobile • Web standards – Web Content Accessibility Guidelines (WCAG) v2 compliant </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a:t>Client Discovery</a:t>
            </a:r>
          </a:p>
        </p:txBody>
      </p:sp>
      <p:sp>
        <p:nvSpPr>
          <p:cNvPr id="3" name="Title 2"/>
          <p:cNvSpPr>
            <a:spLocks noGrp="1"/>
          </p:cNvSpPr>
          <p:nvPr>
            <p:ph type="title"/>
          </p:nvPr>
        </p:nvSpPr>
        <p:spPr/>
        <p:txBody>
          <a:bodyPr/>
          <a:lstStyle/>
          <a:p>
            <a:r>
              <a:rPr lang="en-US" noProof="0" dirty="0"/>
              <a:t>Module 1</a:t>
            </a:r>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Delivery </a:t>
            </a:r>
          </a:p>
          <a:p>
            <a:pPr lvl="2"/>
            <a:r>
              <a:rPr lang="en-US" sz="1800" dirty="0"/>
              <a:t>How can these technology capabilities be procured and implemented, including: • What components would work well as Software-as-</a:t>
            </a:r>
            <a:r>
              <a:rPr lang="en-US" sz="1800" dirty="0" err="1"/>
              <a:t>aService</a:t>
            </a:r>
            <a:r>
              <a:rPr lang="en-US" sz="1800" dirty="0"/>
              <a:t> – e.g. savings calculators • Do you need any external vendors, or can this be built in-house? </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Architecture </a:t>
            </a:r>
          </a:p>
          <a:p>
            <a:pPr lvl="2"/>
            <a:r>
              <a:rPr lang="en-US" sz="1800" dirty="0"/>
              <a:t>Explore the technology capabilities needed to run an online banking solution, considering: • Software – platform, operating system etc. • Infrastructure – database capabilities, hosting etc. • Security – encryption, secure log-on etc. • Support – level of training of IT support staff required</a:t>
            </a:r>
            <a:endParaRPr lang="en-AU" sz="180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Framework and Compatibility </a:t>
            </a:r>
          </a:p>
          <a:p>
            <a:pPr lvl="2"/>
            <a:r>
              <a:rPr lang="en-US" sz="1800" dirty="0"/>
              <a:t>How can you cater for as many customers as possible: • Which internet browsers to support – IE, Chrome, Safari etc. • Internet speeds / performance • Website code/language selection – Java, C++, Flash</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outline all the technology considerations you believe </a:t>
            </a:r>
            <a:r>
              <a:rPr lang="en-AU" sz="1100" dirty="0" err="1"/>
              <a:t>MyBank</a:t>
            </a:r>
            <a:r>
              <a:rPr lang="en-AU" sz="1100" dirty="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sz="1800" dirty="0"/>
              <a:t>Value Analysis</a:t>
            </a:r>
          </a:p>
          <a:p>
            <a:pPr lvl="2"/>
            <a:r>
              <a:rPr lang="en-US" sz="1800" dirty="0"/>
              <a:t>How can we increase the client’s technical capability and level of automation? • No legacy system considerations • Ability to up-scale quickly • Increased level of expertise / offerings to the customer</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s</a:t>
            </a:r>
          </a:p>
          <a:p>
            <a:pPr lvl="2"/>
            <a:r>
              <a:rPr lang="en-US" sz="1800" dirty="0"/>
              <a:t>What are the possible costs to be incurred when establishing an online-first versus a bricks-and-mortar banking solution, considering: • Lower overhead / operating costs • Reduced infrastructure costs needed • Reduced staff costs needed • Reduced inventory needed</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Feasibility</a:t>
            </a:r>
          </a:p>
          <a:p>
            <a:pPr lvl="2"/>
            <a:r>
              <a:rPr lang="en-US" sz="1800" dirty="0"/>
              <a:t>What are the potential benefits to be </a:t>
            </a:r>
            <a:r>
              <a:rPr lang="en-US" sz="1800" dirty="0" err="1"/>
              <a:t>realised</a:t>
            </a:r>
            <a:r>
              <a:rPr lang="en-US" sz="1800" dirty="0"/>
              <a:t> from an online banking solution? • New customer demographics Brand differentiation • New products / services that can be offered • Increase in productivity due to fewer manual interactions • Enhanced reporting and analytics</a:t>
            </a:r>
            <a:endParaRPr lang="en-AU" sz="180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Benefits</a:t>
            </a:r>
          </a:p>
          <a:p>
            <a:pPr lvl="2"/>
            <a:r>
              <a:rPr lang="en-US" sz="1800" dirty="0"/>
              <a:t>How can an online-first solution improve business processes? • Less customer contact points • Effort and time significantly reduced due to some services that can be fully automated – e.g. term deposits submitted online</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present a justification for why </a:t>
            </a:r>
            <a:r>
              <a:rPr lang="en-AU" sz="1100" dirty="0" err="1"/>
              <a:t>MyBank</a:t>
            </a:r>
            <a:r>
              <a:rPr lang="en-AU" sz="1100" dirty="0"/>
              <a:t> should proceed with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Delivery Approach</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Resource Requirements</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Timeframes</a:t>
            </a:r>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 Estimates</a:t>
            </a:r>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explain how you plan to develop and implement </a:t>
            </a:r>
            <a:r>
              <a:rPr lang="en-AU" sz="1100" dirty="0" err="1"/>
              <a:t>MyBank’s</a:t>
            </a:r>
            <a:r>
              <a:rPr lang="en-AU" sz="1100" dirty="0"/>
              <a:t> online banking solution .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78</Words>
  <Application>Microsoft Office PowerPoint</Application>
  <PresentationFormat>Widescreen</PresentationFormat>
  <Paragraphs>37</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hronicle Display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krithika jagannath</cp:lastModifiedBy>
  <cp:revision>41</cp:revision>
  <dcterms:created xsi:type="dcterms:W3CDTF">2019-02-05T22:29:20Z</dcterms:created>
  <dcterms:modified xsi:type="dcterms:W3CDTF">2020-05-31T09:05:09Z</dcterms:modified>
</cp:coreProperties>
</file>